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8" r:id="rId4"/>
    <p:sldId id="290" r:id="rId5"/>
    <p:sldId id="269" r:id="rId6"/>
    <p:sldId id="260" r:id="rId7"/>
    <p:sldId id="261" r:id="rId8"/>
    <p:sldId id="262" r:id="rId9"/>
    <p:sldId id="267" r:id="rId10"/>
    <p:sldId id="264" r:id="rId11"/>
    <p:sldId id="265" r:id="rId12"/>
    <p:sldId id="272" r:id="rId13"/>
    <p:sldId id="270" r:id="rId14"/>
    <p:sldId id="271" r:id="rId15"/>
    <p:sldId id="285" r:id="rId16"/>
    <p:sldId id="286" r:id="rId17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294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의사수</c:v>
                </c:pt>
              </c:strCache>
            </c:strRef>
          </c:tx>
          <c:invertIfNegative val="0"/>
          <c:dPt>
            <c:idx val="9"/>
            <c:invertIfNegative val="0"/>
            <c:bubble3D val="0"/>
            <c:spPr>
              <a:solidFill>
                <a:schemeClr val="accent2"/>
              </a:solidFill>
            </c:spPr>
          </c:dPt>
          <c:dLbls>
            <c:txPr>
              <a:bodyPr/>
              <a:lstStyle/>
              <a:p>
                <a:pPr>
                  <a:defRPr sz="11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1</c:f>
              <c:strCache>
                <c:ptCount val="10"/>
                <c:pt idx="0">
                  <c:v>노르웨이</c:v>
                </c:pt>
                <c:pt idx="1">
                  <c:v>스웨덴</c:v>
                </c:pt>
                <c:pt idx="2">
                  <c:v>독일</c:v>
                </c:pt>
                <c:pt idx="3">
                  <c:v>이탈리아</c:v>
                </c:pt>
                <c:pt idx="4">
                  <c:v>프랑스</c:v>
                </c:pt>
                <c:pt idx="5">
                  <c:v>영국</c:v>
                </c:pt>
                <c:pt idx="6">
                  <c:v>캐나다</c:v>
                </c:pt>
                <c:pt idx="7">
                  <c:v>미국</c:v>
                </c:pt>
                <c:pt idx="8">
                  <c:v>일본</c:v>
                </c:pt>
                <c:pt idx="9">
                  <c:v>한국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</c:v>
                </c:pt>
                <c:pt idx="1">
                  <c:v>3.7</c:v>
                </c:pt>
                <c:pt idx="2">
                  <c:v>3.6</c:v>
                </c:pt>
                <c:pt idx="3">
                  <c:v>3.4</c:v>
                </c:pt>
                <c:pt idx="4">
                  <c:v>3.3</c:v>
                </c:pt>
                <c:pt idx="5">
                  <c:v>2.7</c:v>
                </c:pt>
                <c:pt idx="6">
                  <c:v>2.4</c:v>
                </c:pt>
                <c:pt idx="7">
                  <c:v>2.4</c:v>
                </c:pt>
                <c:pt idx="8">
                  <c:v>2.2000000000000002</c:v>
                </c:pt>
                <c:pt idx="9">
                  <c:v>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408512"/>
        <c:axId val="31410048"/>
      </c:barChart>
      <c:catAx>
        <c:axId val="314085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5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31410048"/>
        <c:crosses val="autoZero"/>
        <c:auto val="1"/>
        <c:lblAlgn val="ctr"/>
        <c:lblOffset val="100"/>
        <c:noMultiLvlLbl val="0"/>
      </c:catAx>
      <c:valAx>
        <c:axId val="31410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1408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6,353,709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6,644,706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6,968,135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2,908,865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5,287,437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4"/>
                <c:pt idx="0">
                  <c:v>항목 1</c:v>
                </c:pt>
                <c:pt idx="1">
                  <c:v>항목 2</c:v>
                </c:pt>
                <c:pt idx="2">
                  <c:v>항목 3</c:v>
                </c:pt>
                <c:pt idx="3">
                  <c:v>항목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353709</c:v>
                </c:pt>
                <c:pt idx="1">
                  <c:v>6644706</c:v>
                </c:pt>
                <c:pt idx="2">
                  <c:v>6968135</c:v>
                </c:pt>
                <c:pt idx="3">
                  <c:v>12908865</c:v>
                </c:pt>
                <c:pt idx="4">
                  <c:v>152874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55808"/>
        <c:axId val="31657344"/>
      </c:barChart>
      <c:catAx>
        <c:axId val="31655808"/>
        <c:scaling>
          <c:orientation val="minMax"/>
        </c:scaling>
        <c:delete val="1"/>
        <c:axPos val="l"/>
        <c:majorTickMark val="out"/>
        <c:minorTickMark val="none"/>
        <c:tickLblPos val="nextTo"/>
        <c:crossAx val="31657344"/>
        <c:crosses val="autoZero"/>
        <c:auto val="1"/>
        <c:lblAlgn val="ctr"/>
        <c:lblOffset val="100"/>
        <c:noMultiLvlLbl val="0"/>
      </c:catAx>
      <c:valAx>
        <c:axId val="316573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655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874772500583576E-2"/>
          <c:y val="5.6903303487272315E-2"/>
          <c:w val="0.36645835089932927"/>
          <c:h val="0.886193393025455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dirty="0" smtClean="0"/>
                      <a:t>4,966,105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dirty="0" smtClean="0"/>
                      <a:t>5,151,234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5,298,512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altLang="en-US" dirty="0" smtClean="0"/>
                      <a:t>5,430,573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altLang="en-US" dirty="0" smtClean="0"/>
                      <a:t>5,468,926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4"/>
                <c:pt idx="0">
                  <c:v>항목 1</c:v>
                </c:pt>
                <c:pt idx="1">
                  <c:v>항목 2</c:v>
                </c:pt>
                <c:pt idx="2">
                  <c:v>항목 3</c:v>
                </c:pt>
                <c:pt idx="3">
                  <c:v>항목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996105</c:v>
                </c:pt>
                <c:pt idx="1">
                  <c:v>5151234</c:v>
                </c:pt>
                <c:pt idx="2">
                  <c:v>5298512</c:v>
                </c:pt>
                <c:pt idx="3">
                  <c:v>5430573</c:v>
                </c:pt>
                <c:pt idx="4">
                  <c:v>54689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69248"/>
        <c:axId val="31671040"/>
      </c:barChart>
      <c:catAx>
        <c:axId val="31669248"/>
        <c:scaling>
          <c:orientation val="minMax"/>
        </c:scaling>
        <c:delete val="1"/>
        <c:axPos val="l"/>
        <c:majorTickMark val="out"/>
        <c:minorTickMark val="none"/>
        <c:tickLblPos val="nextTo"/>
        <c:crossAx val="31671040"/>
        <c:crosses val="autoZero"/>
        <c:auto val="1"/>
        <c:lblAlgn val="ctr"/>
        <c:lblOffset val="100"/>
        <c:noMultiLvlLbl val="0"/>
      </c:catAx>
      <c:valAx>
        <c:axId val="316710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6692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1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23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25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26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30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36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38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44</a:t>
                    </a:r>
                    <a:r>
                      <a:rPr lang="en-US" altLang="ko-KR" sz="1200" b="0" i="0" u="none" strike="noStrike" baseline="0" smtClean="0">
                        <a:effectLst/>
                      </a:rPr>
                      <a:t>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인도네시아</c:v>
                </c:pt>
                <c:pt idx="1">
                  <c:v>일본</c:v>
                </c:pt>
                <c:pt idx="2">
                  <c:v>한국</c:v>
                </c:pt>
                <c:pt idx="3">
                  <c:v>스페인</c:v>
                </c:pt>
                <c:pt idx="4">
                  <c:v>미국</c:v>
                </c:pt>
                <c:pt idx="5">
                  <c:v>뉴질랜드</c:v>
                </c:pt>
                <c:pt idx="6">
                  <c:v>이탈리아</c:v>
                </c:pt>
                <c:pt idx="7">
                  <c:v>그리스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</c:v>
                </c:pt>
                <c:pt idx="1">
                  <c:v>23</c:v>
                </c:pt>
                <c:pt idx="2">
                  <c:v>25</c:v>
                </c:pt>
                <c:pt idx="3">
                  <c:v>26</c:v>
                </c:pt>
                <c:pt idx="4">
                  <c:v>30</c:v>
                </c:pt>
                <c:pt idx="5">
                  <c:v>36</c:v>
                </c:pt>
                <c:pt idx="6">
                  <c:v>38</c:v>
                </c:pt>
                <c:pt idx="7">
                  <c:v>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738112"/>
        <c:axId val="32194560"/>
      </c:barChart>
      <c:catAx>
        <c:axId val="317381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32194560"/>
        <c:crosses val="autoZero"/>
        <c:auto val="1"/>
        <c:lblAlgn val="ctr"/>
        <c:lblOffset val="100"/>
        <c:noMultiLvlLbl val="0"/>
      </c:catAx>
      <c:valAx>
        <c:axId val="321945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1738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546</cdr:x>
      <cdr:y>0.62203</cdr:y>
    </cdr:from>
    <cdr:to>
      <cdr:x>0.6697</cdr:x>
      <cdr:y>0.72232</cdr:y>
    </cdr:to>
    <cdr:sp macro="" textlink="">
      <cdr:nvSpPr>
        <cdr:cNvPr id="2" name="TextBox 21"/>
        <cdr:cNvSpPr txBox="1"/>
      </cdr:nvSpPr>
      <cdr:spPr>
        <a:xfrm xmlns:a="http://schemas.openxmlformats.org/drawingml/2006/main">
          <a:off x="93914" y="1527106"/>
          <a:ext cx="2376264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ko-KR"/>
          </a:defPPr>
          <a:lvl1pPr marL="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ko-KR" altLang="en-US" sz="1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rPr>
            <a:t>급성인두염</a:t>
          </a:r>
          <a:endParaRPr lang="en-US" altLang="ko-KR" sz="10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휴먼고딕" panose="02010504000101010101" pitchFamily="2" charset="-127"/>
            <a:ea typeface="휴먼고딕" panose="02010504000101010101" pitchFamily="2" charset="-127"/>
          </a:endParaRPr>
        </a:p>
      </cdr:txBody>
    </cdr:sp>
  </cdr:relSizeAnchor>
  <cdr:relSizeAnchor xmlns:cdr="http://schemas.openxmlformats.org/drawingml/2006/chartDrawing">
    <cdr:from>
      <cdr:x>0.02752</cdr:x>
      <cdr:y>0.80033</cdr:y>
    </cdr:from>
    <cdr:to>
      <cdr:x>0.67176</cdr:x>
      <cdr:y>0.90062</cdr:y>
    </cdr:to>
    <cdr:sp macro="" textlink="">
      <cdr:nvSpPr>
        <cdr:cNvPr id="3" name="TextBox 21"/>
        <cdr:cNvSpPr txBox="1"/>
      </cdr:nvSpPr>
      <cdr:spPr>
        <a:xfrm xmlns:a="http://schemas.openxmlformats.org/drawingml/2006/main">
          <a:off x="101504" y="1964847"/>
          <a:ext cx="2376264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ko-KR" altLang="en-US" sz="1000" b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rPr>
            <a:t>감기</a:t>
          </a:r>
          <a:endParaRPr lang="en-US" altLang="ko-KR" sz="10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휴먼고딕" panose="02010504000101010101" pitchFamily="2" charset="-127"/>
            <a:ea typeface="휴먼고딕" panose="02010504000101010101" pitchFamily="2" charset="-127"/>
          </a:endParaRP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terms.naver.com/entry.nhn?cid=767&amp;docId=956716&amp;categoryId=1523" TargetMode="External"/><Relationship Id="rId13" Type="http://schemas.openxmlformats.org/officeDocument/2006/relationships/image" Target="../media/image21.jpeg"/><Relationship Id="rId18" Type="http://schemas.openxmlformats.org/officeDocument/2006/relationships/image" Target="../media/image24.jpeg"/><Relationship Id="rId3" Type="http://schemas.openxmlformats.org/officeDocument/2006/relationships/image" Target="../media/image17.jpeg"/><Relationship Id="rId21" Type="http://schemas.openxmlformats.org/officeDocument/2006/relationships/hyperlink" Target="http://terms.naver.com/entry.nhn?cid=768&amp;docId=1687254&amp;categoryId=1852" TargetMode="External"/><Relationship Id="rId7" Type="http://schemas.openxmlformats.org/officeDocument/2006/relationships/image" Target="../media/image6.jpeg"/><Relationship Id="rId12" Type="http://schemas.openxmlformats.org/officeDocument/2006/relationships/hyperlink" Target="http://terms.naver.com/entry.nhn?cid=768&amp;docId=1048869&amp;categoryId=1853" TargetMode="External"/><Relationship Id="rId17" Type="http://schemas.openxmlformats.org/officeDocument/2006/relationships/image" Target="../media/image23.jpeg"/><Relationship Id="rId2" Type="http://schemas.openxmlformats.org/officeDocument/2006/relationships/hyperlink" Target="http://terms.naver.com/entry.nhn?cid=768&amp;docId=1003103&amp;categoryId=1851" TargetMode="External"/><Relationship Id="rId16" Type="http://schemas.openxmlformats.org/officeDocument/2006/relationships/hyperlink" Target="http://terms.naver.com/entry.nhn?cid=767&amp;docId=956434&amp;categoryId=2089" TargetMode="Externa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terms.naver.com/entry.nhn?docId=657659&amp;cid=1596&amp;categoryId=1596" TargetMode="External"/><Relationship Id="rId11" Type="http://schemas.openxmlformats.org/officeDocument/2006/relationships/image" Target="../media/image20.jpeg"/><Relationship Id="rId5" Type="http://schemas.openxmlformats.org/officeDocument/2006/relationships/image" Target="../media/image18.jpeg"/><Relationship Id="rId15" Type="http://schemas.openxmlformats.org/officeDocument/2006/relationships/image" Target="../media/image22.jpeg"/><Relationship Id="rId10" Type="http://schemas.openxmlformats.org/officeDocument/2006/relationships/hyperlink" Target="http://terms.naver.com/entry.nhn?cid=767&amp;docId=1687327&amp;categoryId=1522" TargetMode="External"/><Relationship Id="rId19" Type="http://schemas.openxmlformats.org/officeDocument/2006/relationships/hyperlink" Target="http://terms.naver.com/entry.nhn?cid=767&amp;docId=956621&amp;categoryId=1521" TargetMode="External"/><Relationship Id="rId4" Type="http://schemas.openxmlformats.org/officeDocument/2006/relationships/hyperlink" Target="http://terms.naver.com/entry.nhn?cid=771&amp;docId=1913071&amp;categoryId=1858" TargetMode="External"/><Relationship Id="rId9" Type="http://schemas.openxmlformats.org/officeDocument/2006/relationships/image" Target="../media/image19.jpeg"/><Relationship Id="rId14" Type="http://schemas.openxmlformats.org/officeDocument/2006/relationships/hyperlink" Target="http://terms.naver.com/entry.nhn?cid=767&amp;docId=1840167&amp;categoryId=2102" TargetMode="External"/><Relationship Id="rId22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hyperlink" Target="http://www.google.co.kr/url?sa=i&amp;rct=j&amp;q=&amp;esrc=s&amp;frm=1&amp;source=images&amp;cd=&amp;cad=rja&amp;uact=8&amp;ved=0CAcQjRxqFQoTCNvmvaH03McCFWEjpgodvioGlg&amp;url=http://www.hemophilia.co.kr/news/articleView.html?idxno%3D403&amp;bvm=bv.102022582,d.dGY&amp;psig=AFQjCNEebIAo8udESAyMSOZru3Hkj4NDVQ&amp;ust=1441439686770015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9.png"/><Relationship Id="rId5" Type="http://schemas.openxmlformats.org/officeDocument/2006/relationships/image" Target="../media/image3.png"/><Relationship Id="rId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image" Target="../media/image30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jpeg"/><Relationship Id="rId7" Type="http://schemas.openxmlformats.org/officeDocument/2006/relationships/image" Target="../media/image7.jpeg"/><Relationship Id="rId2" Type="http://schemas.openxmlformats.org/officeDocument/2006/relationships/hyperlink" Target="http://terms.naver.com/entry.nhn?cid=769&amp;docId=956880&amp;categoryId=184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terms.naver.com/entry.nhn?cid=767&amp;docId=956621&amp;categoryId=1521" TargetMode="External"/><Relationship Id="rId5" Type="http://schemas.openxmlformats.org/officeDocument/2006/relationships/image" Target="../media/image6.jpeg"/><Relationship Id="rId4" Type="http://schemas.openxmlformats.org/officeDocument/2006/relationships/hyperlink" Target="http://terms.naver.com/entry.nhn?docId=657659&amp;cid=1596&amp;categoryId=1596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479822" y="2708919"/>
            <a:ext cx="630791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 희망 사회 실현</a:t>
            </a:r>
            <a:endParaRPr lang="en-US" sz="5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79823" y="1697795"/>
            <a:ext cx="539643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하고 행복이 넘치는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740" y="1511612"/>
            <a:ext cx="2233222" cy="918156"/>
          </a:xfrm>
          <a:prstGeom prst="rect">
            <a:avLst/>
          </a:prstGeom>
        </p:spPr>
      </p:pic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439075" y="3615030"/>
            <a:ext cx="423851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분야 진단</a:t>
            </a:r>
            <a:endParaRPr lang="en-US" altLang="ko-KR" sz="2800" dirty="0" smtClean="0">
              <a:solidFill>
                <a:schemeClr val="tx1">
                  <a:lumMod val="50000"/>
                  <a:lumOff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3042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0.(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966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직사각형 26"/>
          <p:cNvSpPr/>
          <p:nvPr/>
        </p:nvSpPr>
        <p:spPr>
          <a:xfrm>
            <a:off x="750342" y="3068960"/>
            <a:ext cx="7710090" cy="2952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41037" y="686459"/>
            <a:ext cx="8308926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多빈도 질환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‘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12~‘14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3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9513" y="1316699"/>
            <a:ext cx="88569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 생활질환 다빈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급성기관지염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29.7%)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은염 및 치주질환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25.1%)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급성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편도염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13.5%)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상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생활질환 中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질환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바이러스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플루엔자 감염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독감’ 전염성 질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多빈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유 ① 감기만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걸려도 병원 찾는 국민 과다의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행태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인원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7,448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물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오남용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논란</a:t>
            </a:r>
            <a:endParaRPr lang="en-US" altLang="ko-KR" sz="16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          ② 의료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손쉬운 진단명 처방 및 항생제 과다처방 경향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슈퍼박테리아 출현 우려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6624228" y="18448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2503037" y="14847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620349" y="6100066"/>
            <a:ext cx="8381258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독감백신 국산화</a:t>
            </a:r>
            <a:r>
              <a:rPr lang="en-US" altLang="ko-KR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spc="-1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폐렴규균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spc="-15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무료접종률</a:t>
            </a:r>
            <a:r>
              <a:rPr lang="ko-KR" altLang="en-US" sz="20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항생제 남용대책」 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오른쪽 화살표 8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7056276" y="22177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6478387" y="25730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1115616" y="3175483"/>
            <a:ext cx="691276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 다빈도 상위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0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대 질환 순위 및 현황자료 </a:t>
            </a:r>
            <a:r>
              <a:rPr lang="en-US" altLang="ko-KR" sz="105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5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건보공단</a:t>
            </a:r>
            <a:r>
              <a:rPr lang="ko-KR" altLang="en-US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제출자료</a:t>
            </a:r>
            <a:r>
              <a:rPr lang="en-US" altLang="ko-KR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: ‘14, </a:t>
            </a:r>
            <a:r>
              <a:rPr lang="ko-KR" altLang="en-US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05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05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513" y="198512"/>
            <a:ext cx="24315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이제는 「예방」이다①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graphicFrame>
        <p:nvGraphicFramePr>
          <p:cNvPr id="3" name="차트 2"/>
          <p:cNvGraphicFramePr/>
          <p:nvPr>
            <p:extLst>
              <p:ext uri="{D42A27DB-BD31-4B8C-83A1-F6EECF244321}">
                <p14:modId xmlns:p14="http://schemas.microsoft.com/office/powerpoint/2010/main" val="3408396047"/>
              </p:ext>
            </p:extLst>
          </p:nvPr>
        </p:nvGraphicFramePr>
        <p:xfrm>
          <a:off x="1610118" y="3570080"/>
          <a:ext cx="3688471" cy="2455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323439" y="3714096"/>
            <a:ext cx="35125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1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2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3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4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5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46698" y="3816300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급성기관지염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46698" y="4255049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치은염 및 치주질환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46698" y="4672962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급성 </a:t>
            </a:r>
            <a:r>
              <a:rPr lang="ko-KR" altLang="en-US" sz="1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편도염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46698" y="5098594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spc="-1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급성 상기도 감염</a:t>
            </a:r>
            <a:endParaRPr lang="en-US" altLang="ko-KR" sz="1000" b="1" spc="-15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46698" y="5526369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비염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20" name="차트 19"/>
          <p:cNvGraphicFramePr/>
          <p:nvPr>
            <p:extLst>
              <p:ext uri="{D42A27DB-BD31-4B8C-83A1-F6EECF244321}">
                <p14:modId xmlns:p14="http://schemas.microsoft.com/office/powerpoint/2010/main" val="2881334107"/>
              </p:ext>
            </p:extLst>
          </p:nvPr>
        </p:nvGraphicFramePr>
        <p:xfrm>
          <a:off x="5779371" y="3571487"/>
          <a:ext cx="3688471" cy="2455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873285" y="3811646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spc="-1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위염</a:t>
            </a:r>
            <a:r>
              <a:rPr lang="en-US" altLang="ko-KR" sz="1000" b="1" spc="-1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000" b="1" spc="-1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십이지장염</a:t>
            </a:r>
            <a:endParaRPr lang="en-US" altLang="ko-KR" sz="1000" b="1" spc="-15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73285" y="4236439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치아우식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73285" y="4672961"/>
            <a:ext cx="23762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본태성고혈압</a:t>
            </a:r>
            <a:endParaRPr lang="en-US" altLang="ko-KR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459815" y="3711158"/>
            <a:ext cx="46415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6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7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8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9</a:t>
            </a: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10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cxnSp>
        <p:nvCxnSpPr>
          <p:cNvPr id="28" name="직선 연결선 27"/>
          <p:cNvCxnSpPr/>
          <p:nvPr/>
        </p:nvCxnSpPr>
        <p:spPr>
          <a:xfrm>
            <a:off x="1499064" y="3501008"/>
            <a:ext cx="6169280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05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5" y="699070"/>
            <a:ext cx="8308926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8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활습관병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고혈압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/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당뇨법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/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고지혈증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7321" y="1316699"/>
            <a:ext cx="87191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생활습관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 지속 증가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84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3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13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4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37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혈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55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24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지혈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4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順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37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8.3%)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지</a:t>
            </a:r>
            <a:r>
              <a:rPr lang="en-US" altLang="ko-KR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‘</a:t>
            </a:r>
            <a:r>
              <a:rPr lang="en-US" altLang="ko-KR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진료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%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↑ 증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혈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뇨병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지혈증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順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총 진료비 약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 원 예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고혈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뇨병 유질환자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후관리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상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가 치료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홀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3779912" y="14847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오른쪽 화살표 4"/>
          <p:cNvSpPr/>
          <p:nvPr/>
        </p:nvSpPr>
        <p:spPr>
          <a:xfrm>
            <a:off x="5455065" y="222130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62742" y="6100066"/>
            <a:ext cx="82737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성질환 정책</a:t>
            </a:r>
            <a:r>
              <a:rPr lang="en-US" altLang="ko-KR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pc="-15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高年齡</a:t>
            </a:r>
            <a:r>
              <a:rPr lang="ko-KR" altLang="en-US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환 치료 </a:t>
            </a:r>
            <a:r>
              <a:rPr lang="en-US" altLang="ko-KR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 </a:t>
            </a:r>
            <a:r>
              <a:rPr lang="ko-KR" altLang="en-US" spc="-15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低年齡</a:t>
            </a:r>
            <a:r>
              <a:rPr lang="ko-KR" altLang="en-US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예방서비스 병행정책」 </a:t>
            </a:r>
            <a:r>
              <a:rPr lang="ko-KR" altLang="en-US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확대 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563077" y="18549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767515" y="260770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1494474" y="3125233"/>
            <a:ext cx="6192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Adobe 고딕 Std B" pitchFamily="34" charset="-127"/>
                <a:ea typeface="Adobe 고딕 Std B" pitchFamily="34" charset="-127"/>
              </a:rPr>
              <a:t>3</a:t>
            </a:r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대 「</a:t>
            </a:r>
            <a:r>
              <a:rPr lang="ko-KR" altLang="en-US" sz="1400" dirty="0" err="1" smtClean="0">
                <a:latin typeface="Adobe 고딕 Std B" pitchFamily="34" charset="-127"/>
                <a:ea typeface="Adobe 고딕 Std B" pitchFamily="34" charset="-127"/>
              </a:rPr>
              <a:t>생활습관병</a:t>
            </a:r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」 환자 현황  </a:t>
            </a:r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기준</a:t>
            </a:r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: 2014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년 한 해</a:t>
            </a:r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)</a:t>
            </a:r>
            <a:endParaRPr lang="ko-KR" altLang="en-US" sz="14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9513" y="198512"/>
            <a:ext cx="24315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이제는 「예방」이다②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23" y="4048099"/>
            <a:ext cx="2647950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54" y="3861048"/>
            <a:ext cx="2459871" cy="156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4852" y="3760116"/>
            <a:ext cx="2524720" cy="1670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모서리가 둥근 직사각형 13"/>
          <p:cNvSpPr/>
          <p:nvPr/>
        </p:nvSpPr>
        <p:spPr>
          <a:xfrm>
            <a:off x="469104" y="3760116"/>
            <a:ext cx="8252557" cy="1802458"/>
          </a:xfrm>
          <a:prstGeom prst="round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767278" y="4034728"/>
            <a:ext cx="192922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고혈압</a:t>
            </a:r>
            <a:endParaRPr lang="en-US" altLang="ko-KR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4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5,557,318</a:t>
            </a:r>
            <a:r>
              <a:rPr lang="ko-KR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명</a:t>
            </a:r>
            <a:endParaRPr lang="ko-KR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396257" y="4034728"/>
            <a:ext cx="192922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당뇨병</a:t>
            </a:r>
            <a:endParaRPr lang="en-US" altLang="ko-KR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4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2,409,059</a:t>
            </a:r>
            <a:r>
              <a:rPr lang="ko-KR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명</a:t>
            </a:r>
            <a:endParaRPr lang="ko-KR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30478" y="4034702"/>
            <a:ext cx="192922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고지혈증</a:t>
            </a:r>
            <a:endParaRPr lang="en-US" altLang="ko-KR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4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1,399,132</a:t>
            </a:r>
            <a:r>
              <a:rPr lang="ko-KR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명</a:t>
            </a:r>
            <a:endParaRPr lang="ko-KR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2611049" y="3501008"/>
            <a:ext cx="3977175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32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/>
          <p:cNvSpPr/>
          <p:nvPr/>
        </p:nvSpPr>
        <p:spPr>
          <a:xfrm>
            <a:off x="3048664" y="3284983"/>
            <a:ext cx="5728045" cy="2733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55945" y="506289"/>
            <a:ext cx="83089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高비만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영양비만 문제</a:t>
            </a:r>
            <a:r>
              <a: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8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7320" y="1196752"/>
            <a:ext cx="8719175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만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1.4%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男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7.6%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女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5.1%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동비만이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더욱 심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활습관 악화가 비만으로 연결 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‘13 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비만질환 관리의 어려운 점은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소득층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회계층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만유병율이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높다는 점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아동비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성인비만으로의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행율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7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↓ 약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1%, 10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13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↓ 약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70%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만문제 심각한 미국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바마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정부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 ‘Let’s Move’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책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극 추진 中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만관련 질병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2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 고혈압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32.7%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성 요통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30.8%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順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진료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대 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‘15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추정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건보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93037" y="6152952"/>
            <a:ext cx="80718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예방차원 건강증진사업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「건강보장 위한 재원확보 방안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3036826" y="13478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123875" y="27355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170" name="Picture 2" descr="C:\Users\assembly\Desktop\asf_0000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248" y="3770486"/>
            <a:ext cx="1938371" cy="2187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1423619" y="3627028"/>
            <a:ext cx="15647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성인비만율</a:t>
            </a:r>
            <a:endParaRPr lang="en-US" altLang="ko-KR" sz="1600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31.4%</a:t>
            </a:r>
            <a:endParaRPr lang="ko-KR" altLang="en-US" sz="1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513" y="198512"/>
            <a:ext cx="24315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이제는 「예방」이다③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graphicFrame>
        <p:nvGraphicFramePr>
          <p:cNvPr id="5" name="차트 4"/>
          <p:cNvGraphicFramePr/>
          <p:nvPr>
            <p:extLst>
              <p:ext uri="{D42A27DB-BD31-4B8C-83A1-F6EECF244321}">
                <p14:modId xmlns:p14="http://schemas.microsoft.com/office/powerpoint/2010/main" val="3540439833"/>
              </p:ext>
            </p:extLst>
          </p:nvPr>
        </p:nvGraphicFramePr>
        <p:xfrm>
          <a:off x="3598349" y="3501008"/>
          <a:ext cx="5224352" cy="2503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직선 연결선 14"/>
          <p:cNvCxnSpPr/>
          <p:nvPr/>
        </p:nvCxnSpPr>
        <p:spPr>
          <a:xfrm>
            <a:off x="3817139" y="4864155"/>
            <a:ext cx="4824536" cy="0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모서리가 둥근 직사각형 18"/>
          <p:cNvSpPr/>
          <p:nvPr/>
        </p:nvSpPr>
        <p:spPr>
          <a:xfrm>
            <a:off x="3239370" y="4692631"/>
            <a:ext cx="1155537" cy="326145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OECD </a:t>
            </a:r>
            <a:r>
              <a:rPr lang="ko-KR" altLang="en-US" sz="1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평균 </a:t>
            </a:r>
            <a:r>
              <a:rPr lang="en-US" altLang="ko-KR" sz="1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23%</a:t>
            </a:r>
            <a:endParaRPr lang="ko-KR" altLang="en-US" sz="1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09567" y="3362682"/>
            <a:ext cx="5406238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주요국 아동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청소년 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만율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비교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endParaRPr lang="en-US" altLang="ko-KR" sz="12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5~17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 남자 아동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청소년 기준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OECD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만 통계</a:t>
            </a:r>
            <a:endParaRPr lang="en-US" altLang="ko-KR" sz="11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[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2014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자료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OECD]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오른쪽 화살표 15"/>
          <p:cNvSpPr/>
          <p:nvPr/>
        </p:nvSpPr>
        <p:spPr>
          <a:xfrm>
            <a:off x="5978384" y="239536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098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직사각형 58"/>
          <p:cNvSpPr/>
          <p:nvPr/>
        </p:nvSpPr>
        <p:spPr>
          <a:xfrm>
            <a:off x="327868" y="4294455"/>
            <a:ext cx="8430697" cy="12686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55945" y="492560"/>
            <a:ext cx="83089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평안한 삶의 마무리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생애 말기 지원정책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7321" y="1316699"/>
            <a:ext cx="87191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령화 따른 질병 급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. 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가구 노인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독사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급증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WELL DYING TREND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요인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암환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임종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개월前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전체 진료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/3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비 급증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계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경제적 부담 가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사회적 인식조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‘14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사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응답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0.6% 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죽음 임박 알고 싶다”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8%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존엄사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희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임종준비학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동해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름다운 마무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강릉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NO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브레인’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민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맞이하는 죽음 운동” 확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某손해보험社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하늘 소풍이야기’ 프로그램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6190979" y="258903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오른쪽 화살표 4"/>
          <p:cNvSpPr/>
          <p:nvPr/>
        </p:nvSpPr>
        <p:spPr>
          <a:xfrm>
            <a:off x="5090156" y="14847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817075" y="6100066"/>
            <a:ext cx="8273754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말기케어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수가 및 호스피스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완화의료 지원 체계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396546" y="18448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517028" y="22210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792281" y="29649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2" name="Picture 4" descr="fla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46" y="4728711"/>
            <a:ext cx="533498" cy="40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11015" y="5232767"/>
            <a:ext cx="84475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00" dirty="0" smtClean="0"/>
              <a:t>영국  오스트레일리아  뉴질랜드  아일랜드  벨기에  오스트리아  네덜란드  독일  캐나다</a:t>
            </a:r>
            <a:r>
              <a:rPr lang="en-US" altLang="ko-KR" sz="400" dirty="0" smtClean="0"/>
              <a:t>·</a:t>
            </a:r>
            <a:r>
              <a:rPr lang="ko-KR" altLang="en-US" sz="400" dirty="0" smtClean="0"/>
              <a:t>미국  헝가리  프랑스  노르웨이  타이완 폴란드  스웨덴  룩셈부르크  싱가포르  스위스  홍콩  체코  덴마크  일본  이탈리아  아이슬란드  스페인  슬로바키아  </a:t>
            </a:r>
            <a:r>
              <a:rPr lang="ko-KR" altLang="en-US" sz="400" dirty="0" err="1" smtClean="0"/>
              <a:t>필란드</a:t>
            </a:r>
            <a:r>
              <a:rPr lang="ko-KR" altLang="en-US" sz="400" dirty="0" smtClean="0"/>
              <a:t>  그리스  남아공  포르투갈  </a:t>
            </a:r>
            <a:r>
              <a:rPr lang="ko-KR" altLang="en-US" sz="600" b="1" dirty="0" smtClean="0">
                <a:solidFill>
                  <a:srgbClr val="C00000"/>
                </a:solidFill>
              </a:rPr>
              <a:t>한국</a:t>
            </a:r>
            <a:r>
              <a:rPr lang="ko-KR" altLang="en-US" sz="400" dirty="0" smtClean="0"/>
              <a:t>  말레이시아  터키  러시아  멕시코  중국  브라질  </a:t>
            </a:r>
            <a:r>
              <a:rPr lang="ko-KR" altLang="en-US" sz="400" dirty="0" err="1" smtClean="0"/>
              <a:t>우간다</a:t>
            </a:r>
            <a:r>
              <a:rPr lang="ko-KR" altLang="en-US" sz="400" dirty="0" smtClean="0"/>
              <a:t>  인도</a:t>
            </a:r>
            <a:endParaRPr lang="ko-KR" altLang="en-US" sz="400" dirty="0"/>
          </a:p>
        </p:txBody>
      </p:sp>
      <p:sp>
        <p:nvSpPr>
          <p:cNvPr id="14" name="TextBox 13"/>
          <p:cNvSpPr txBox="1"/>
          <p:nvPr/>
        </p:nvSpPr>
        <p:spPr>
          <a:xfrm>
            <a:off x="358100" y="4451712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1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영국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74" name="Picture 26" descr="fla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434" y="4728711"/>
            <a:ext cx="533498" cy="40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1070516" y="4450535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2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호주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76" name="Picture 28" descr="fla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403" y="4727534"/>
            <a:ext cx="588058" cy="441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366765" y="4464425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32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한국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78" name="Picture 30" descr="flag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495" y="4743597"/>
            <a:ext cx="570518" cy="42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7816087" y="4467357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40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인도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80" name="Picture 32" descr="flag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099" y="4741425"/>
            <a:ext cx="569539" cy="42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7106461" y="4461802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37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중국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82" name="Picture 34" descr="flag">
            <a:hlinkClick r:id="rId12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48" y="4734191"/>
            <a:ext cx="558583" cy="418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1779245" y="4451715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12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프랑스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84" name="Picture 36" descr="flag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472" y="4728714"/>
            <a:ext cx="565884" cy="42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2528747" y="4457192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14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타이완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86" name="Picture 38" descr="flag">
            <a:hlinkClick r:id="rId16"/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773" y="4728714"/>
            <a:ext cx="586486" cy="43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3281063" y="4457781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spc="-150" dirty="0" smtClean="0">
                <a:latin typeface="Adobe 고딕 Std B" pitchFamily="34" charset="-127"/>
                <a:ea typeface="Adobe 고딕 Std B" pitchFamily="34" charset="-127"/>
              </a:rPr>
              <a:t>18 </a:t>
            </a:r>
            <a:r>
              <a:rPr lang="ko-KR" altLang="en-US" sz="1200" spc="-150" dirty="0" smtClean="0">
                <a:latin typeface="Adobe 고딕 Std B" pitchFamily="34" charset="-127"/>
                <a:ea typeface="Adobe 고딕 Std B" pitchFamily="34" charset="-127"/>
              </a:rPr>
              <a:t>싱가포르</a:t>
            </a:r>
            <a:endParaRPr lang="ko-KR" altLang="en-US" sz="1200" spc="-15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88" name="Picture 40" descr="###a:홍콩의 깃발|$chnhm3@###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03" y="4734486"/>
            <a:ext cx="602596" cy="40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4062618" y="4464142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20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홍콩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90" name="Picture 42" descr="flag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335" y="4728714"/>
            <a:ext cx="586485" cy="43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/>
          <p:cNvSpPr txBox="1"/>
          <p:nvPr/>
        </p:nvSpPr>
        <p:spPr>
          <a:xfrm>
            <a:off x="4810199" y="4464142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Adobe 고딕 Std B" pitchFamily="34" charset="-127"/>
                <a:ea typeface="Adobe 고딕 Std B" pitchFamily="34" charset="-127"/>
              </a:rPr>
              <a:t>23 </a:t>
            </a:r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일본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92" name="Picture 44" descr="flag">
            <a:hlinkClick r:id="rId21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108" y="4728714"/>
            <a:ext cx="590361" cy="442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591621" y="4457780"/>
            <a:ext cx="891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spc="-150" dirty="0" smtClean="0">
                <a:latin typeface="Adobe 고딕 Std B" pitchFamily="34" charset="-127"/>
                <a:ea typeface="Adobe 고딕 Std B" pitchFamily="34" charset="-127"/>
              </a:rPr>
              <a:t>24 </a:t>
            </a:r>
            <a:r>
              <a:rPr lang="ko-KR" altLang="en-US" sz="1200" spc="-150" dirty="0" smtClean="0">
                <a:latin typeface="Adobe 고딕 Std B" pitchFamily="34" charset="-127"/>
                <a:ea typeface="Adobe 고딕 Std B" pitchFamily="34" charset="-127"/>
              </a:rPr>
              <a:t>이탈리아</a:t>
            </a:r>
            <a:endParaRPr lang="ko-KR" altLang="en-US" sz="1200" spc="-15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2658" y="3816633"/>
            <a:ext cx="699596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OECD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가 호스피스 이용률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죽음의 질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수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The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Quality of Death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Index)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437235" y="4450535"/>
            <a:ext cx="757285" cy="7822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7" name="직선 연결선 36"/>
          <p:cNvCxnSpPr/>
          <p:nvPr/>
        </p:nvCxnSpPr>
        <p:spPr>
          <a:xfrm>
            <a:off x="1691680" y="4133404"/>
            <a:ext cx="5851188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632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5" y="492560"/>
            <a:ext cx="83089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난민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받지 못한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희귀질환자들의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삶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9675" y="1196752"/>
            <a:ext cx="8592806" cy="2793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국감 지적 및 거듭 요구사항</a:t>
            </a:r>
            <a:endParaRPr lang="ko-KR" altLang="en-US" sz="1600" spc="-3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희귀질환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7,000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종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WHO)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부분 진단 곤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제 부재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명적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애질환 초래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희귀질환자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수만 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정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 지원 불만족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4%’, ‘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오진 경험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5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’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 희귀질환의 未진단과 高오진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원인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①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차원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단관리시스템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未구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정책 및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의약품의 高價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②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보체제下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저수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래환자 진료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분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급여 체계의 적용과 지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③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희귀질환 진단과 유전상담 등 의료서비스 제공할 전문인력의 절대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족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6112332" y="18359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62742" y="6132252"/>
            <a:ext cx="8273754" cy="42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 및 국회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희귀질환 연구개발 지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문인력 양성 등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정법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 시급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797" y="4297597"/>
            <a:ext cx="2532218" cy="1590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93096"/>
            <a:ext cx="2539386" cy="159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2" name="Picture 8" descr="http://www.hemophilia.co.kr/news/photo/201507/403_504_15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74" y="4297597"/>
            <a:ext cx="2915227" cy="159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3635896" y="22075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59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67641" y="2713340"/>
            <a:ext cx="721118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480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제적 위기대응체계 구축</a:t>
            </a:r>
            <a:endParaRPr lang="en-US" sz="48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033228" y="1688088"/>
            <a:ext cx="639169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병으로부터 국민의 안전을 지키는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3042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0.(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병관리본부 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9218" name="Picture 2" descr="C:\Users\assembly\Desktop\2015 국정감사\PPT\1차 기관 로고\질병관리본부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163" y="1615209"/>
            <a:ext cx="830592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7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714" y="5325226"/>
            <a:ext cx="542226" cy="470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6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327" y="5357607"/>
            <a:ext cx="560279" cy="485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818" y="5358187"/>
            <a:ext cx="577424" cy="500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979" y="5394465"/>
            <a:ext cx="647763" cy="428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985" y="5326717"/>
            <a:ext cx="746649" cy="49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55945" y="330735"/>
            <a:ext cx="830892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사시 업무에 걸맞은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질병관리본부 기능 문제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1521" y="1065352"/>
            <a:ext cx="8782238" cy="2839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는 ‘사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초기 대응 부실’ 질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제사회 경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이 이럴 수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!’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중국發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SARS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행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’0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국립보건원 → 질병관리본부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염병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본격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시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점 및 복지부 대책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질병관리본부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 산하기관으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無독립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예산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없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국가 방역체계 개편안」 마련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본부장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실장급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사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他부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행정력 동원 곤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관급으로 격상으로 강제처분 권한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예방법」상 ‘의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권한의 주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장관 또는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장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으로 명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견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인재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- &lt;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발생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5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 만에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컨트롤 타워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’,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질본본부장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5.20)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차관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5.28)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장관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6.2)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으로 교체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9512" y="6125854"/>
            <a:ext cx="81742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실상부한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관리기구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 될 수 있도록 본부 차원 노력 필요</a:t>
            </a:r>
            <a:endParaRPr lang="en-US" altLang="ko-KR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16442" y="62258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249845" y="124053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173623" y="15649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939972" y="25999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033821" y="29546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7175543" y="32671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833" y="4730271"/>
            <a:ext cx="504056" cy="4821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502" y="4730271"/>
            <a:ext cx="504056" cy="4821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635" y="4730272"/>
            <a:ext cx="504055" cy="4821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714" y="4730272"/>
            <a:ext cx="504055" cy="485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278" y="4730271"/>
            <a:ext cx="576064" cy="4821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278" y="4193895"/>
            <a:ext cx="566767" cy="455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C:\Users\assembly\Desktop\2015 국정감사\PPT\1차 기관 로고\질병관리본부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746" y="4240700"/>
            <a:ext cx="415296" cy="39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221547" y="4300222"/>
            <a:ext cx="164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한국 질병관리본부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024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654" y="5447172"/>
            <a:ext cx="428461" cy="25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786560" y="5435043"/>
            <a:ext cx="20827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미국 질병통제예방센터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0249" name="Picture 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978" y="4123118"/>
            <a:ext cx="607181" cy="53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1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005" y="4181691"/>
            <a:ext cx="541049" cy="479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1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9465" y="4139230"/>
            <a:ext cx="607372" cy="537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1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543" y="4181691"/>
            <a:ext cx="559433" cy="49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모서리가 둥근 직사각형 15"/>
          <p:cNvSpPr/>
          <p:nvPr/>
        </p:nvSpPr>
        <p:spPr>
          <a:xfrm>
            <a:off x="786560" y="4062306"/>
            <a:ext cx="7473957" cy="1931789"/>
          </a:xfrm>
          <a:prstGeom prst="round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8738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8513" y="620688"/>
            <a:ext cx="8369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3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의료</a:t>
            </a:r>
            <a:r>
              <a:rPr lang="en-US" altLang="ko-KR" sz="3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3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 업무」</a:t>
            </a:r>
            <a:r>
              <a:rPr lang="en-US" altLang="ko-KR" sz="3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3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그 평가와 여론</a:t>
            </a:r>
            <a:endParaRPr lang="en-US" sz="3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8121" y="1486238"/>
            <a:ext cx="843629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ko-KR" altLang="en-US" sz="1600" spc="-150" dirty="0"/>
              <a:t>총론중심</a:t>
            </a:r>
            <a:r>
              <a:rPr lang="en-US" altLang="ko-KR" sz="1600" spc="-150" dirty="0"/>
              <a:t>, </a:t>
            </a:r>
            <a:r>
              <a:rPr lang="ko-KR" altLang="en-US" sz="1600" spc="-150" dirty="0"/>
              <a:t>일시적 단기 현안 </a:t>
            </a:r>
            <a:r>
              <a:rPr lang="ko-KR" altLang="en-US" sz="1600" spc="-150" dirty="0" smtClean="0"/>
              <a:t>업무 위주         </a:t>
            </a:r>
            <a:r>
              <a:rPr lang="ko-KR" altLang="en-US" sz="1600" spc="-150" dirty="0">
                <a:solidFill>
                  <a:srgbClr val="C00000"/>
                </a:solidFill>
              </a:rPr>
              <a:t>「미래 중장기 발전계획」과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연계</a:t>
            </a:r>
            <a:r>
              <a:rPr lang="en-US" altLang="ko-KR" sz="1600" spc="-150" dirty="0" smtClean="0">
                <a:solidFill>
                  <a:srgbClr val="C00000"/>
                </a:solidFill>
              </a:rPr>
              <a:t>,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연속성</a:t>
            </a:r>
            <a:r>
              <a:rPr lang="en-US" altLang="ko-KR" sz="1600" spc="-150" dirty="0" smtClean="0">
                <a:solidFill>
                  <a:srgbClr val="C00000"/>
                </a:solidFill>
              </a:rPr>
              <a:t>·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일관성 강화</a:t>
            </a:r>
            <a:endParaRPr lang="ko-KR" altLang="en-US" sz="1600" spc="-150" dirty="0">
              <a:solidFill>
                <a:srgbClr val="C00000"/>
              </a:solidFill>
            </a:endParaRPr>
          </a:p>
          <a:p>
            <a:pPr fontAlgn="base">
              <a:lnSpc>
                <a:spcPct val="200000"/>
              </a:lnSpc>
            </a:pPr>
            <a:r>
              <a:rPr lang="en-US" altLang="ko-KR" sz="1600" spc="-150" dirty="0" smtClean="0"/>
              <a:t> </a:t>
            </a:r>
            <a:r>
              <a:rPr lang="ko-KR" altLang="en-US" sz="1600" spc="-150" dirty="0"/>
              <a:t>「</a:t>
            </a:r>
            <a:r>
              <a:rPr lang="ko-KR" altLang="en-US" sz="1600" spc="-150" dirty="0" err="1" smtClean="0"/>
              <a:t>기획재정부</a:t>
            </a:r>
            <a:r>
              <a:rPr lang="ko-KR" altLang="en-US" sz="1600" spc="-150" dirty="0" smtClean="0"/>
              <a:t> 과잉의존」 평가        </a:t>
            </a:r>
            <a:r>
              <a:rPr lang="ko-KR" altLang="en-US" sz="1600" dirty="0">
                <a:solidFill>
                  <a:srgbClr val="C00000"/>
                </a:solidFill>
              </a:rPr>
              <a:t>타 부처와 협업하되</a:t>
            </a:r>
            <a:r>
              <a:rPr lang="en-US" altLang="ko-KR" sz="1600" dirty="0">
                <a:solidFill>
                  <a:srgbClr val="C00000"/>
                </a:solidFill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</a:rPr>
              <a:t>「보건복지 업무</a:t>
            </a:r>
            <a:r>
              <a:rPr lang="ko-KR" altLang="en-US" sz="1600" dirty="0" smtClean="0">
                <a:solidFill>
                  <a:srgbClr val="C00000"/>
                </a:solidFill>
              </a:rPr>
              <a:t>」 </a:t>
            </a:r>
            <a:r>
              <a:rPr lang="ko-KR" altLang="en-US" sz="1600" dirty="0">
                <a:solidFill>
                  <a:srgbClr val="C00000"/>
                </a:solidFill>
              </a:rPr>
              <a:t>중요성 </a:t>
            </a:r>
            <a:r>
              <a:rPr lang="ko-KR" altLang="en-US" sz="1600" dirty="0" smtClean="0">
                <a:solidFill>
                  <a:srgbClr val="C00000"/>
                </a:solidFill>
              </a:rPr>
              <a:t>제</a:t>
            </a:r>
            <a:r>
              <a:rPr lang="ko-KR" altLang="en-US" sz="1600" dirty="0">
                <a:solidFill>
                  <a:srgbClr val="C00000"/>
                </a:solidFill>
              </a:rPr>
              <a:t>고</a:t>
            </a:r>
          </a:p>
          <a:p>
            <a:pPr fontAlgn="base">
              <a:lnSpc>
                <a:spcPct val="200000"/>
              </a:lnSpc>
            </a:pPr>
            <a:r>
              <a:rPr lang="en-US" altLang="ko-KR" sz="1600" spc="-150" dirty="0" smtClean="0"/>
              <a:t> </a:t>
            </a:r>
            <a:r>
              <a:rPr lang="ko-KR" altLang="en-US" sz="1600" spc="-150" dirty="0" smtClean="0"/>
              <a:t>「</a:t>
            </a:r>
            <a:r>
              <a:rPr lang="ko-KR" altLang="en-US" sz="1600" spc="-150" dirty="0"/>
              <a:t>국가재정 위주」의 복지수요 충당 </a:t>
            </a:r>
            <a:r>
              <a:rPr lang="ko-KR" altLang="en-US" sz="1600" spc="-150" dirty="0" smtClean="0"/>
              <a:t>        </a:t>
            </a:r>
            <a:r>
              <a:rPr lang="ko-KR" altLang="en-US" sz="1600" dirty="0">
                <a:solidFill>
                  <a:srgbClr val="C00000"/>
                </a:solidFill>
              </a:rPr>
              <a:t>「중앙과 지방</a:t>
            </a:r>
            <a:r>
              <a:rPr lang="en-US" altLang="ko-KR" sz="1600" dirty="0">
                <a:solidFill>
                  <a:srgbClr val="C00000"/>
                </a:solidFill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</a:rPr>
              <a:t>민</a:t>
            </a:r>
            <a:r>
              <a:rPr lang="en-US" altLang="ko-KR" sz="1600" dirty="0">
                <a:solidFill>
                  <a:srgbClr val="C00000"/>
                </a:solidFill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</a:rPr>
              <a:t>산</a:t>
            </a:r>
            <a:r>
              <a:rPr lang="en-US" altLang="ko-KR" sz="1600" dirty="0">
                <a:solidFill>
                  <a:srgbClr val="C00000"/>
                </a:solidFill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</a:rPr>
              <a:t>관」 긴밀 협의</a:t>
            </a:r>
            <a:r>
              <a:rPr lang="en-US" altLang="ko-KR" sz="1600" dirty="0">
                <a:solidFill>
                  <a:srgbClr val="C00000"/>
                </a:solidFill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</a:rPr>
              <a:t>공동 대응 확대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/>
              <a:t>제도적</a:t>
            </a:r>
            <a:r>
              <a:rPr lang="en-US" altLang="ko-KR" sz="1600" spc="-150" dirty="0"/>
              <a:t>·</a:t>
            </a:r>
            <a:r>
              <a:rPr lang="ko-KR" altLang="en-US" sz="1600" spc="-150" dirty="0"/>
              <a:t>인위적 규제</a:t>
            </a:r>
            <a:r>
              <a:rPr lang="en-US" altLang="ko-KR" sz="1600" spc="-150" dirty="0"/>
              <a:t>, </a:t>
            </a:r>
            <a:r>
              <a:rPr lang="ko-KR" altLang="en-US" sz="1600" spc="-150" dirty="0"/>
              <a:t>업체</a:t>
            </a:r>
            <a:r>
              <a:rPr lang="en-US" altLang="ko-KR" sz="1600" spc="-150" dirty="0"/>
              <a:t>·</a:t>
            </a:r>
            <a:r>
              <a:rPr lang="ko-KR" altLang="en-US" sz="1600" spc="-150" dirty="0"/>
              <a:t>업소</a:t>
            </a:r>
            <a:r>
              <a:rPr lang="en-US" altLang="ko-KR" sz="1600" spc="-150" dirty="0"/>
              <a:t>·</a:t>
            </a:r>
            <a:r>
              <a:rPr lang="ko-KR" altLang="en-US" sz="1600" spc="-150" dirty="0"/>
              <a:t>업자 중심 행정 </a:t>
            </a:r>
            <a:r>
              <a:rPr lang="ko-KR" altLang="en-US" sz="1600" spc="-150" dirty="0" smtClean="0"/>
              <a:t>       </a:t>
            </a:r>
            <a:r>
              <a:rPr lang="ko-KR" altLang="en-US" sz="1600" dirty="0">
                <a:solidFill>
                  <a:srgbClr val="C00000"/>
                </a:solidFill>
              </a:rPr>
              <a:t>현장중심 행정</a:t>
            </a:r>
            <a:r>
              <a:rPr lang="en-US" altLang="ko-KR" sz="1600" dirty="0">
                <a:solidFill>
                  <a:srgbClr val="C00000"/>
                </a:solidFill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</a:rPr>
              <a:t>수요자 중심 규제 혁파</a:t>
            </a:r>
            <a:endParaRPr lang="en-US" altLang="ko-KR" sz="1600" dirty="0" smtClean="0">
              <a:solidFill>
                <a:srgbClr val="C00000"/>
              </a:solidFill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/>
              <a:t>산하 </a:t>
            </a:r>
            <a:r>
              <a:rPr lang="ko-KR" altLang="en-US" sz="1600" spc="-150" dirty="0"/>
              <a:t>기관</a:t>
            </a:r>
            <a:r>
              <a:rPr lang="en-US" altLang="ko-KR" sz="1600" spc="-150" dirty="0"/>
              <a:t>·</a:t>
            </a:r>
            <a:r>
              <a:rPr lang="ko-KR" altLang="en-US" sz="1600" spc="-150" dirty="0"/>
              <a:t>협회 남발과 하향식 감독 관행  </a:t>
            </a:r>
            <a:r>
              <a:rPr lang="ko-KR" altLang="en-US" sz="1600" spc="-150" dirty="0" smtClean="0"/>
              <a:t>     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미래지향적 기능 </a:t>
            </a:r>
            <a:r>
              <a:rPr lang="ko-KR" altLang="en-US" sz="1600" spc="-150" dirty="0">
                <a:solidFill>
                  <a:srgbClr val="C00000"/>
                </a:solidFill>
              </a:rPr>
              <a:t>재조정과 수평적 협업 연계체제 설정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spc="-150" dirty="0" smtClean="0"/>
              <a:t>자문委</a:t>
            </a:r>
            <a:r>
              <a:rPr lang="en-US" altLang="ko-KR" sz="1600" spc="-150" dirty="0"/>
              <a:t> </a:t>
            </a:r>
            <a:r>
              <a:rPr lang="ko-KR" altLang="en-US" sz="1600" spc="-150" dirty="0" smtClean="0"/>
              <a:t>등</a:t>
            </a:r>
            <a:r>
              <a:rPr lang="en-US" altLang="ko-KR" sz="1600" spc="-150" dirty="0" smtClean="0"/>
              <a:t> </a:t>
            </a:r>
            <a:r>
              <a:rPr lang="ko-KR" altLang="en-US" sz="1600" spc="-150" dirty="0" smtClean="0"/>
              <a:t>전문가</a:t>
            </a:r>
            <a:r>
              <a:rPr lang="en-US" altLang="ko-KR" sz="1600" spc="-150" dirty="0"/>
              <a:t> </a:t>
            </a:r>
            <a:r>
              <a:rPr lang="ko-KR" altLang="en-US" sz="1600" spc="-150" dirty="0" smtClean="0"/>
              <a:t>집단</a:t>
            </a:r>
            <a:r>
              <a:rPr lang="en-US" altLang="ko-KR" sz="1600" spc="-150" dirty="0" smtClean="0"/>
              <a:t> </a:t>
            </a:r>
            <a:r>
              <a:rPr lang="ko-KR" altLang="en-US" sz="1600" spc="-150" dirty="0" smtClean="0"/>
              <a:t>활용 미흡</a:t>
            </a:r>
            <a:r>
              <a:rPr lang="en-US" altLang="ko-KR" sz="1600" spc="-150" dirty="0" smtClean="0"/>
              <a:t>, </a:t>
            </a:r>
            <a:r>
              <a:rPr lang="ko-KR" altLang="en-US" sz="1600" spc="-150" dirty="0" smtClean="0"/>
              <a:t>부적절한 </a:t>
            </a:r>
            <a:r>
              <a:rPr lang="ko-KR" altLang="en-US" sz="1600" spc="-150" dirty="0" err="1" smtClean="0"/>
              <a:t>줄세우기</a:t>
            </a:r>
            <a:r>
              <a:rPr lang="ko-KR" altLang="en-US" sz="1600" spc="-150" dirty="0" smtClean="0"/>
              <a:t>        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건강하고 </a:t>
            </a:r>
            <a:r>
              <a:rPr lang="ko-KR" altLang="en-US" sz="1600" spc="-150" dirty="0">
                <a:solidFill>
                  <a:srgbClr val="C00000"/>
                </a:solidFill>
              </a:rPr>
              <a:t>생산적인 新전문가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진입 </a:t>
            </a:r>
            <a:r>
              <a:rPr lang="ko-KR" altLang="en-US" sz="1600" spc="-150" dirty="0">
                <a:solidFill>
                  <a:srgbClr val="C00000"/>
                </a:solidFill>
              </a:rPr>
              <a:t>확대</a:t>
            </a:r>
          </a:p>
          <a:p>
            <a:pPr fontAlgn="base">
              <a:lnSpc>
                <a:spcPct val="200000"/>
              </a:lnSpc>
            </a:pPr>
            <a:r>
              <a:rPr lang="en-US" altLang="ko-KR" sz="1600" spc="-150" dirty="0" smtClean="0"/>
              <a:t>R&amp;D</a:t>
            </a:r>
            <a:r>
              <a:rPr lang="en-US" altLang="ko-KR" sz="1600" spc="-150" dirty="0"/>
              <a:t>, </a:t>
            </a:r>
            <a:r>
              <a:rPr lang="ko-KR" altLang="en-US" sz="1600" spc="-150" dirty="0" smtClean="0"/>
              <a:t>연구와 시행</a:t>
            </a:r>
            <a:r>
              <a:rPr lang="en-US" altLang="ko-KR" sz="1600" spc="-150" dirty="0"/>
              <a:t>·</a:t>
            </a:r>
            <a:r>
              <a:rPr lang="ko-KR" altLang="en-US" sz="1600" spc="-150" dirty="0" smtClean="0"/>
              <a:t>중앙과 지방간 </a:t>
            </a:r>
            <a:r>
              <a:rPr lang="ko-KR" altLang="en-US" sz="1600" spc="-150" dirty="0"/>
              <a:t>‘별개 추진</a:t>
            </a:r>
            <a:r>
              <a:rPr lang="ko-KR" altLang="en-US" sz="1600" spc="-150" dirty="0" smtClean="0"/>
              <a:t>’          </a:t>
            </a:r>
            <a:r>
              <a:rPr lang="en-US" altLang="ko-KR" sz="1600" spc="-150" dirty="0" smtClean="0">
                <a:solidFill>
                  <a:srgbClr val="C00000"/>
                </a:solidFill>
              </a:rPr>
              <a:t>R&amp;D </a:t>
            </a:r>
            <a:r>
              <a:rPr lang="ko-KR" altLang="en-US" sz="1600" spc="-150" dirty="0">
                <a:solidFill>
                  <a:srgbClr val="C00000"/>
                </a:solidFill>
              </a:rPr>
              <a:t>결과 적극 活用</a:t>
            </a:r>
            <a:r>
              <a:rPr lang="en-US" altLang="ko-KR" sz="1600" spc="-150" dirty="0">
                <a:solidFill>
                  <a:srgbClr val="C00000"/>
                </a:solidFill>
              </a:rPr>
              <a:t>, </a:t>
            </a:r>
            <a:r>
              <a:rPr lang="en-US" altLang="ko-KR" sz="1600" spc="-150" dirty="0" smtClean="0">
                <a:solidFill>
                  <a:srgbClr val="C00000"/>
                </a:solidFill>
              </a:rPr>
              <a:t> </a:t>
            </a:r>
            <a:r>
              <a:rPr lang="ko-KR" altLang="en-US" sz="1600" spc="-150" dirty="0" smtClean="0">
                <a:solidFill>
                  <a:srgbClr val="C00000"/>
                </a:solidFill>
              </a:rPr>
              <a:t>地方과 </a:t>
            </a:r>
            <a:r>
              <a:rPr lang="ko-KR" altLang="en-US" sz="1600" spc="-150" dirty="0">
                <a:solidFill>
                  <a:srgbClr val="C00000"/>
                </a:solidFill>
              </a:rPr>
              <a:t>연계 교류 강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3983818" y="177303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3274257" y="22441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712209" y="27487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536033" y="323170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112840" y="37103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180470" y="42182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428021" y="46918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681055" y="5956090"/>
            <a:ext cx="8167601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의 중추기능 재인식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기진작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문성 강화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 방법론 등 패러다임 쇄신</a:t>
            </a:r>
            <a:endParaRPr lang="ko-KR" altLang="en-US" sz="1900" spc="-1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6" name="Group 7"/>
          <p:cNvGrpSpPr/>
          <p:nvPr/>
        </p:nvGrpSpPr>
        <p:grpSpPr>
          <a:xfrm>
            <a:off x="299354" y="1616036"/>
            <a:ext cx="414987" cy="414986"/>
            <a:chOff x="349648" y="2204865"/>
            <a:chExt cx="518790" cy="518788"/>
          </a:xfrm>
        </p:grpSpPr>
        <p:sp>
          <p:nvSpPr>
            <p:cNvPr id="17" name="Oval 55"/>
            <p:cNvSpPr/>
            <p:nvPr>
              <p:custDataLst>
                <p:tags r:id="rId1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8" name="Oval 56"/>
            <p:cNvSpPr/>
            <p:nvPr>
              <p:custDataLst>
                <p:tags r:id="rId1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1</a:t>
              </a:r>
            </a:p>
          </p:txBody>
        </p:sp>
      </p:grpSp>
      <p:grpSp>
        <p:nvGrpSpPr>
          <p:cNvPr id="19" name="Group 7"/>
          <p:cNvGrpSpPr/>
          <p:nvPr/>
        </p:nvGrpSpPr>
        <p:grpSpPr>
          <a:xfrm>
            <a:off x="299353" y="2134268"/>
            <a:ext cx="414987" cy="414986"/>
            <a:chOff x="349648" y="2204865"/>
            <a:chExt cx="518790" cy="518788"/>
          </a:xfrm>
        </p:grpSpPr>
        <p:sp>
          <p:nvSpPr>
            <p:cNvPr id="20" name="Oval 55"/>
            <p:cNvSpPr/>
            <p:nvPr>
              <p:custDataLst>
                <p:tags r:id="rId1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1" name="Oval 56"/>
            <p:cNvSpPr/>
            <p:nvPr>
              <p:custDataLst>
                <p:tags r:id="rId1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2" name="Group 7"/>
          <p:cNvGrpSpPr/>
          <p:nvPr/>
        </p:nvGrpSpPr>
        <p:grpSpPr>
          <a:xfrm>
            <a:off x="299352" y="2617950"/>
            <a:ext cx="414987" cy="414986"/>
            <a:chOff x="349648" y="2204865"/>
            <a:chExt cx="518790" cy="518788"/>
          </a:xfrm>
        </p:grpSpPr>
        <p:sp>
          <p:nvSpPr>
            <p:cNvPr id="23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4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3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5" name="Group 7"/>
          <p:cNvGrpSpPr/>
          <p:nvPr/>
        </p:nvGrpSpPr>
        <p:grpSpPr>
          <a:xfrm>
            <a:off x="286247" y="3087188"/>
            <a:ext cx="414987" cy="414986"/>
            <a:chOff x="349648" y="2204865"/>
            <a:chExt cx="518790" cy="518788"/>
          </a:xfrm>
        </p:grpSpPr>
        <p:sp>
          <p:nvSpPr>
            <p:cNvPr id="26" name="Oval 55"/>
            <p:cNvSpPr/>
            <p:nvPr>
              <p:custDataLst>
                <p:tags r:id="rId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7" name="Oval 56"/>
            <p:cNvSpPr/>
            <p:nvPr>
              <p:custDataLst>
                <p:tags r:id="rId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4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8" name="Group 7"/>
          <p:cNvGrpSpPr/>
          <p:nvPr/>
        </p:nvGrpSpPr>
        <p:grpSpPr>
          <a:xfrm>
            <a:off x="286248" y="3564401"/>
            <a:ext cx="414987" cy="414986"/>
            <a:chOff x="349648" y="2204865"/>
            <a:chExt cx="518790" cy="518788"/>
          </a:xfrm>
        </p:grpSpPr>
        <p:sp>
          <p:nvSpPr>
            <p:cNvPr id="29" name="Oval 55"/>
            <p:cNvSpPr/>
            <p:nvPr>
              <p:custDataLst>
                <p:tags r:id="rId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0" name="Oval 56"/>
            <p:cNvSpPr/>
            <p:nvPr>
              <p:custDataLst>
                <p:tags r:id="rId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5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1" name="Group 7"/>
          <p:cNvGrpSpPr/>
          <p:nvPr/>
        </p:nvGrpSpPr>
        <p:grpSpPr>
          <a:xfrm>
            <a:off x="277798" y="4075874"/>
            <a:ext cx="414987" cy="414986"/>
            <a:chOff x="349648" y="2204865"/>
            <a:chExt cx="518790" cy="518788"/>
          </a:xfrm>
        </p:grpSpPr>
        <p:sp>
          <p:nvSpPr>
            <p:cNvPr id="32" name="Oval 55"/>
            <p:cNvSpPr/>
            <p:nvPr>
              <p:custDataLst>
                <p:tags r:id="rId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3" name="Oval 56"/>
            <p:cNvSpPr/>
            <p:nvPr>
              <p:custDataLst>
                <p:tags r:id="rId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6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4" name="Group 7"/>
          <p:cNvGrpSpPr/>
          <p:nvPr/>
        </p:nvGrpSpPr>
        <p:grpSpPr>
          <a:xfrm>
            <a:off x="286840" y="4564374"/>
            <a:ext cx="414987" cy="414986"/>
            <a:chOff x="349648" y="2204865"/>
            <a:chExt cx="518790" cy="518788"/>
          </a:xfrm>
        </p:grpSpPr>
        <p:sp>
          <p:nvSpPr>
            <p:cNvPr id="35" name="Oval 55"/>
            <p:cNvSpPr/>
            <p:nvPr>
              <p:custDataLst>
                <p:tags r:id="rId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6" name="Oval 56"/>
            <p:cNvSpPr/>
            <p:nvPr>
              <p:custDataLst>
                <p:tags r:id="rId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7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40" name="오른쪽 화살표 39"/>
          <p:cNvSpPr/>
          <p:nvPr/>
        </p:nvSpPr>
        <p:spPr>
          <a:xfrm>
            <a:off x="260875" y="607252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8682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50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50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780363" y="3068960"/>
            <a:ext cx="7632847" cy="2520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84080" y="332656"/>
            <a:ext cx="841379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장기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「보건의료 </a:t>
            </a:r>
            <a:r>
              <a: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인력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급 판단과 육성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7323" y="980728"/>
            <a:ext cx="85805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가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남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감염에 취약한 병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병문화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인은 병원인력의 양적 질적 부족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료기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형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급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익화 과잉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구      </a:t>
            </a:r>
            <a:r>
              <a:rPr lang="ko-KR" altLang="en-US" sz="16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급성기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상수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가 의료장비 과잉상태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반면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의료인력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OECD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선진국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/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/3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준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전체 숫자 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증가</a:t>
            </a:r>
            <a:r>
              <a:rPr lang="en-US" altLang="ko-KR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병상 대비 인력은 감소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근무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0.5% 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력부족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81.1% 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력부족으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서비스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질 하락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”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당 </a:t>
            </a:r>
            <a:r>
              <a:rPr lang="ko-KR" altLang="en-US" sz="16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9.8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간 </a:t>
            </a:r>
            <a:r>
              <a:rPr lang="ko-KR" altLang="en-US" sz="16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무 </a:t>
            </a:r>
            <a:endParaRPr lang="ko-KR" altLang="en-US" sz="1600" spc="-3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 종별 및 인력 배출</a:t>
            </a:r>
            <a:r>
              <a:rPr lang="en-US" altLang="ko-KR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무 현황 위주 파악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 </a:t>
            </a:r>
            <a:r>
              <a:rPr lang="ko-KR" altLang="en-US" sz="16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향후 </a:t>
            </a:r>
            <a:r>
              <a:rPr lang="ko-KR" altLang="en-US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종별 수요 및 인력수급 예측</a:t>
            </a:r>
            <a:r>
              <a:rPr lang="en-US" altLang="ko-KR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계획 부실 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5441490" y="1158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4607599" y="15348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377594" y="221298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960625" y="255863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666671" y="5787605"/>
            <a:ext cx="8248648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선진국</a:t>
            </a:r>
            <a:r>
              <a:rPr lang="en-US" altLang="ko-KR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령화 대비한 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중</a:t>
            </a:r>
            <a:r>
              <a:rPr lang="en-US" altLang="ko-KR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기 의료 종별 및 인력 수요예측</a:t>
            </a:r>
            <a:r>
              <a:rPr lang="en-US" altLang="ko-KR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계획」 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271541" y="629720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" name="차트 2"/>
          <p:cNvGraphicFramePr/>
          <p:nvPr>
            <p:extLst>
              <p:ext uri="{D42A27DB-BD31-4B8C-83A1-F6EECF244321}">
                <p14:modId xmlns:p14="http://schemas.microsoft.com/office/powerpoint/2010/main" val="506945524"/>
              </p:ext>
            </p:extLst>
          </p:nvPr>
        </p:nvGraphicFramePr>
        <p:xfrm>
          <a:off x="1055453" y="3492604"/>
          <a:ext cx="7132893" cy="2007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201520" y="3140968"/>
            <a:ext cx="68407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의사 수 가장 적은 한국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OECD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가 중 인구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000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명당 의사 수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20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82938" y="3491377"/>
            <a:ext cx="24126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OECD 2011, </a:t>
            </a:r>
            <a:r>
              <a:rPr lang="ko-KR" altLang="en-US" sz="11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한국은 한의사 포함</a:t>
            </a:r>
            <a:r>
              <a:rPr lang="en-US" altLang="ko-KR" sz="12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2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오른쪽 화살표 15"/>
          <p:cNvSpPr/>
          <p:nvPr/>
        </p:nvSpPr>
        <p:spPr>
          <a:xfrm>
            <a:off x="274109" y="585920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666671" y="6212856"/>
            <a:ext cx="8248648" cy="496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 복지분야 </a:t>
            </a:r>
            <a:r>
              <a:rPr lang="ko-KR" altLang="en-US" sz="17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우수공무원 적극적 모집 및 사기진작</a:t>
            </a:r>
            <a:r>
              <a:rPr lang="en-US" altLang="ko-KR" sz="17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7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士氣振作</a:t>
            </a:r>
            <a:r>
              <a:rPr lang="en-US" altLang="ko-KR" sz="17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7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책 </a:t>
            </a:r>
            <a:r>
              <a:rPr lang="ko-KR" altLang="en-US" sz="17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추진</a:t>
            </a:r>
            <a:endParaRPr lang="ko-KR" altLang="en-US" sz="17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6" name="Picture 2" descr="C:\Users\assembly\Desktop\ad_000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841" y="4076192"/>
            <a:ext cx="416878" cy="10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직선 연결선 17"/>
          <p:cNvCxnSpPr/>
          <p:nvPr/>
        </p:nvCxnSpPr>
        <p:spPr>
          <a:xfrm>
            <a:off x="1777989" y="3448745"/>
            <a:ext cx="5666201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717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9709" y="428328"/>
            <a:ext cx="83089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성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en-US" altLang="ko-KR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Publicness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 확대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 정답이다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7769" y="1052736"/>
            <a:ext cx="8592806" cy="3070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한국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소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25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.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지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1,29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: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공보건기관 전체병원의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.3%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과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-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의료 매우 취약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질병에 대한 ‘사전 예방’보다 ‘치료 서비스’만 제공 상황 </a:t>
            </a:r>
            <a:endParaRPr lang="ko-KR" altLang="en-US" sz="16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방의료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3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: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거점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약계층 진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관리와 예방 등 수행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부분 경영적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사 및 간호사 부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높은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의사이직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접근성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취약 상황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립대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1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: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권역거점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가 공공보건의료 정책 및 사업 등 수행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급여대상자 진료비율 점차 감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선택진료비 증가 등 수익위주 경영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공병원 비중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%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협력 운영시스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역포괄케어시스템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진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미국」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사회병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2%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 공공병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카운티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市소유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공공병원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영리 보건의료 강화</a:t>
            </a:r>
          </a:p>
        </p:txBody>
      </p:sp>
      <p:sp>
        <p:nvSpPr>
          <p:cNvPr id="5" name="오른쪽 화살표 4"/>
          <p:cNvSpPr/>
          <p:nvPr/>
        </p:nvSpPr>
        <p:spPr>
          <a:xfrm>
            <a:off x="5990654" y="33569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29882" y="5709755"/>
            <a:ext cx="8273754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농어촌형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도시형 보건소 증설 및 전문인력 보강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설현대화 지원 확대 필요</a:t>
            </a:r>
            <a:endParaRPr lang="en-US" altLang="ko-KR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80144" y="584096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250378" y="37170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280143" y="628144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618727" y="6165566"/>
            <a:ext cx="827375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립중앙의료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립대병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방의료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소」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의료라인업 강화 필요</a:t>
            </a:r>
            <a:endParaRPr lang="en-US" altLang="ko-KR" sz="17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076" name="Picture 4" descr="fla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517" y="4576975"/>
            <a:ext cx="731199" cy="54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8" descr="fla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4576975"/>
            <a:ext cx="714295" cy="535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2" descr="fla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897" y="4576975"/>
            <a:ext cx="731199" cy="54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92382" y="4625390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5.3%</a:t>
            </a:r>
            <a:endParaRPr lang="ko-KR" altLang="en-US" sz="20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78726" y="4638442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22%</a:t>
            </a:r>
            <a:endParaRPr lang="ko-KR" altLang="en-US" sz="20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696096" y="4630998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30%</a:t>
            </a:r>
            <a:endParaRPr lang="ko-KR" altLang="en-US" sz="20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21004" y="4548933"/>
            <a:ext cx="18979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공공보건기관</a:t>
            </a:r>
            <a:endParaRPr lang="en-US" altLang="ko-KR" sz="14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/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비</a:t>
            </a:r>
            <a:r>
              <a:rPr lang="ko-KR" altLang="en-US" sz="1400" dirty="0">
                <a:latin typeface="Adobe 고딕 Std B" pitchFamily="34" charset="-127"/>
                <a:ea typeface="Adobe 고딕 Std B" pitchFamily="34" charset="-127"/>
              </a:rPr>
              <a:t>율</a:t>
            </a:r>
          </a:p>
        </p:txBody>
      </p:sp>
      <p:pic>
        <p:nvPicPr>
          <p:cNvPr id="3077" name="Picture 5" descr="C:\Users\assembly\Desktop\as_0000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62" y="4411338"/>
            <a:ext cx="788673" cy="79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직선 연결선 20"/>
          <p:cNvCxnSpPr/>
          <p:nvPr/>
        </p:nvCxnSpPr>
        <p:spPr>
          <a:xfrm>
            <a:off x="2699792" y="4397621"/>
            <a:ext cx="0" cy="81212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910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5314" y="670344"/>
            <a:ext cx="836452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호자 없는 병원 </a:t>
            </a:r>
            <a:r>
              <a:rPr lang="en-US" altLang="ko-KR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7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포괄간호서비스 제도화 추진」</a:t>
            </a:r>
            <a:r>
              <a:rPr lang="ko-KR" altLang="en-US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27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7931" y="1519282"/>
            <a:ext cx="8580552" cy="427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확인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병원內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감염 및 비위생적 병실환경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확진자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중 간병인 감염률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4.4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現병실문화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6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24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간 환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호자 및 간병인 등 사실상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실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간병은 환자 몫’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병실태 </a:t>
            </a:r>
            <a:r>
              <a:rPr lang="en-US" altLang="ko-KR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족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4.6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1,84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료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9.3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75,20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입원환자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3.9%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병서비스 이용 </a:t>
            </a:r>
            <a:r>
              <a:rPr lang="en-US" altLang="ko-KR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4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10</a:t>
            </a:r>
            <a:r>
              <a:rPr lang="ko-KR" altLang="en-US" sz="14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기준</a:t>
            </a:r>
            <a:r>
              <a:rPr lang="en-US" altLang="ko-KR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3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적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병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족간병 직장휴직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비용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원     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병문화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 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러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문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인력 부족 및 </a:t>
            </a:r>
            <a:r>
              <a:rPr lang="ko-KR" altLang="en-US" sz="1600" spc="-3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정규직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채용</a:t>
            </a:r>
            <a:r>
              <a:rPr lang="en-US" altLang="ko-KR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환자안전 </a:t>
            </a:r>
            <a:r>
              <a:rPr lang="ko-KR" altLang="en-US" sz="16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협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 </a:t>
            </a:r>
            <a:r>
              <a:rPr lang="ko-KR" altLang="en-US" sz="16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 </a:t>
            </a:r>
            <a:r>
              <a:rPr lang="ko-KR" altLang="en-US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사고 사망자 약 </a:t>
            </a:r>
            <a:r>
              <a:rPr lang="en-US" altLang="ko-KR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en-US" altLang="ko-KR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4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0</a:t>
            </a:r>
            <a:r>
              <a:rPr lang="ko-KR" altLang="en-US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4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4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3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포괄간호서비스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도화를 위한 대책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종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환자중증도를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고려한 진료과별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인력 배치기준」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설정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공병원과 지방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직율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제고」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및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해소」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공 및 민간병원 간호사와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임금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격차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소」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거점 병원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포괄간호서비스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가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차등화」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용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오른쪽 화살표 5"/>
          <p:cNvSpPr/>
          <p:nvPr/>
        </p:nvSpPr>
        <p:spPr>
          <a:xfrm>
            <a:off x="5223378" y="169733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6732240" y="205734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813952" y="24303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319218" y="279480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813609" y="31605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asf_00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089" y="4005710"/>
            <a:ext cx="2391391" cy="1872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8753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5945" y="404664"/>
            <a:ext cx="83089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700" dirty="0">
                <a:latin typeface="HY견고딕" panose="02030600000101010101" pitchFamily="18" charset="-127"/>
                <a:ea typeface="HY견고딕" panose="02030600000101010101" pitchFamily="18" charset="-127"/>
              </a:rPr>
              <a:t>통일대비 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남북의료협력과 </a:t>
            </a:r>
            <a:r>
              <a:rPr lang="ko-KR" altLang="en-US" sz="2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업 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」 </a:t>
            </a:r>
            <a:r>
              <a:rPr lang="ko-KR" altLang="en-US" sz="2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34887" y="1297065"/>
            <a:ext cx="8784977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북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속적인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제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량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너지란 심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의료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 분야의 어려움 가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건강수명 평균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WHO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12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대수명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69.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南北韓間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수명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격차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남북의료협력사업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추진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6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민간위탁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 원 포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협력사업 부실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온정인민병원 현대화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고려약제약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신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선적십자병원 기기 지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어린이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B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형간염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예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결핵관리 등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국제사회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북지원액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억 원 </a:t>
            </a:r>
            <a:r>
              <a:rPr lang="en-US" altLang="ko-KR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통계청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en-US" altLang="ko-KR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en-US" altLang="ko-KR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en-US" altLang="ko-KR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유엔인도지원사무국</a:t>
            </a:r>
            <a:r>
              <a:rPr lang="en-US" altLang="ko-KR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46788" y="3309285"/>
            <a:ext cx="80253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일에 대비한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의료 분야 기능 및 교류의 확대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독일사례 벤치마킹</a:t>
            </a:r>
            <a:r>
              <a:rPr lang="en-US" altLang="ko-KR" sz="14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4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오른쪽 화살표 9"/>
          <p:cNvSpPr/>
          <p:nvPr/>
        </p:nvSpPr>
        <p:spPr>
          <a:xfrm>
            <a:off x="395424" y="345284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751449" y="14602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5292080" y="18519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7001307" y="22132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067944" y="28809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302717" y="4221088"/>
            <a:ext cx="8407556" cy="2054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토 대책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-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치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보와 민간협력 분리 요구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간차원 우선 추진</a:t>
            </a:r>
            <a:endParaRPr lang="en-US" altLang="ko-KR" sz="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빈곤과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질병으로부터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사람중심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호원칙」 하에 생산적인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원방안 다각 모색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북한주민 및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군포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탈주민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호 강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남북건강공동체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차원의 결핵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장병 어린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성 감염성 질환 등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무료진료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방안 강구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④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성공단 진료소 조기 정상화 및 국민건강증진기금의 일정비율 의료협력 기금화 등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8618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5945" y="492560"/>
            <a:ext cx="8308926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희망 </a:t>
            </a:r>
            <a:r>
              <a:rPr lang="ko-KR" altLang="en-US" sz="2800" dirty="0">
                <a:latin typeface="HY견고딕" panose="02030600000101010101" pitchFamily="18" charset="-127"/>
                <a:ea typeface="HY견고딕" panose="02030600000101010101" pitchFamily="18" charset="-127"/>
              </a:rPr>
              <a:t>懸案 </a:t>
            </a:r>
            <a:r>
              <a:rPr lang="en-US" altLang="ko-KR" sz="28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선택진료비 </a:t>
            </a:r>
            <a:r>
              <a: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도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축</a:t>
            </a:r>
            <a:r>
              <a: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소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322" y="1267414"/>
            <a:ext cx="858055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공공보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최대 목적은 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등한 의료를 국민에게 보장하는 것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선택진료제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돈으로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능한 의사를 선점하게 하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헌법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반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상급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종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 의사의 선택진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특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사 비율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0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→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7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로 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축소’ 발표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15.8.7)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정부의 「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지 불합리한 선택진료제도」 운용 실태와 내용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선택진료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문의 경력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이상인 종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상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근무의사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업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開業醫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는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NO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② ‘개업의는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 개원이기 때문에 「선택」이라는 개념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없다’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수 전문의 근무 醫院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그래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NO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동일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면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동일 경력 보유 의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무 의료기관 다른 경우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택진료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NO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백한 차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홀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④ 종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상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 근무의사 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7%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 유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?), 67%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유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능 논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?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합리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상식의 극치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⑤ 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법」상으론 선택진료비 不可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의료법」상으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YES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형병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무의사만 특혜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여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6" name="오른쪽 화살표 15"/>
          <p:cNvSpPr/>
          <p:nvPr/>
        </p:nvSpPr>
        <p:spPr>
          <a:xfrm>
            <a:off x="5943433" y="33748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657513" y="37120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326007" y="4069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579323" y="44052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727409" y="47365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37502" y="6040574"/>
            <a:ext cx="8298995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부 부작용 불구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 위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환자 中心 진료제도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 발전적 보완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317322" y="616158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502764" y="18176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443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28189" y="492561"/>
            <a:ext cx="7572439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심폐소생술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CPR)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교육 실태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478" y="1184241"/>
            <a:ext cx="85805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올해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초등학생 심폐소생술로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급성심장정지 환자 살려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NEWS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거리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응급 이송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심정지환자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 목격자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시행율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.5%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스웨덴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5%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5%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국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3%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‘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2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심장정지 조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체 퇴원생존율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.9%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심폐소생술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행時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퇴원생존율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.7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학교보건법」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응급처지교육 체계적으로 실시 중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률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7%, ‘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생이 살린다’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책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반인 교육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소방본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십자사 등 시행 중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주체 난립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내용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표준화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상황</a:t>
            </a:r>
          </a:p>
        </p:txBody>
      </p:sp>
      <p:sp>
        <p:nvSpPr>
          <p:cNvPr id="16" name="오른쪽 화살표 15"/>
          <p:cNvSpPr/>
          <p:nvPr/>
        </p:nvSpPr>
        <p:spPr>
          <a:xfrm>
            <a:off x="6878370" y="13474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084529" y="17273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634142" y="20886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265787" y="24636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683110" y="282109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37502" y="6040574"/>
            <a:ext cx="80273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교육프로그램 표준화」 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반인 심폐소생술 습득 향상 대책」 </a:t>
            </a: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317322" y="616158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478" y="3356991"/>
            <a:ext cx="4034603" cy="21863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142" y="3356992"/>
            <a:ext cx="4066486" cy="21863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C:\Users\assembly\Desktop\2015 국정감사\PPT\아이템\heart-and-stroke-psa-2_dvd_original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25" y="384116"/>
            <a:ext cx="758667" cy="545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777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5945" y="492560"/>
            <a:ext cx="83089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속가능한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안전망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강화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체계 역할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321" y="1340768"/>
            <a:ext cx="8719175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「건강보험체계」의 주요 쟁점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저소득층 중심의 촘촘한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의료안전망으로서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역할 강화 및 제도의 지속가능성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보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베이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부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대의 은퇴 이후 「보험료 부과체계 개선 위한 사회적 합의 및 추진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제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중증질환 급여항목 신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선택진료 의사비율 축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위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임산부 진료비 경감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약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건강보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연속 하락과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본인부담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급자의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新비급여 창출 등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인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6" name="오른쪽 화살표 15"/>
          <p:cNvSpPr/>
          <p:nvPr/>
        </p:nvSpPr>
        <p:spPr>
          <a:xfrm>
            <a:off x="7438354" y="26560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934797" y="30132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540509" y="5661248"/>
            <a:ext cx="835925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저소득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빈곤층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「</a:t>
            </a:r>
            <a:r>
              <a:rPr lang="ko-KR" altLang="en-US" sz="1900" spc="-15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장성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대폭 강화」와 「</a:t>
            </a:r>
            <a:r>
              <a:rPr lang="ko-KR" altLang="en-US" sz="1900" spc="-15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재정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건전성 확보」 위해</a:t>
            </a:r>
            <a:r>
              <a:rPr lang="en-US" altLang="ko-KR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spc="-1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보료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부과체계 」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고지원 지속 확보</a:t>
            </a:r>
            <a:r>
              <a:rPr lang="en-US" altLang="ko-KR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방식」 개선 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촉구</a:t>
            </a:r>
            <a:endParaRPr lang="ko-KR" altLang="en-US" sz="19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342749" y="581582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" name="Group 93"/>
          <p:cNvGrpSpPr/>
          <p:nvPr/>
        </p:nvGrpSpPr>
        <p:grpSpPr>
          <a:xfrm>
            <a:off x="667390" y="3980408"/>
            <a:ext cx="2509330" cy="1291210"/>
            <a:chOff x="914400" y="4030498"/>
            <a:chExt cx="3657600" cy="1511660"/>
          </a:xfrm>
        </p:grpSpPr>
        <p:sp>
          <p:nvSpPr>
            <p:cNvPr id="24" name="Rectangle 94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Rectangle 95"/>
            <p:cNvSpPr/>
            <p:nvPr/>
          </p:nvSpPr>
          <p:spPr>
            <a:xfrm>
              <a:off x="914400" y="4030498"/>
              <a:ext cx="3657600" cy="33720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100" b="1" dirty="0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지역가입자의 보험료 부과방식 개선 </a:t>
              </a:r>
              <a:endParaRPr lang="en-US" sz="1100" b="1" dirty="0"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sp>
        <p:nvSpPr>
          <p:cNvPr id="12" name="TextBox 96"/>
          <p:cNvSpPr txBox="1"/>
          <p:nvPr/>
        </p:nvSpPr>
        <p:spPr>
          <a:xfrm>
            <a:off x="681882" y="4371394"/>
            <a:ext cx="249483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000" dirty="0" smtClean="0"/>
              <a:t>▶ 소득보험료 부과방식 개선 시 문제점</a:t>
            </a:r>
            <a:endParaRPr lang="en-US" altLang="ko-KR" sz="1000" dirty="0" smtClean="0"/>
          </a:p>
          <a:p>
            <a:r>
              <a:rPr lang="ko-KR" altLang="en-US" sz="1000" dirty="0" smtClean="0"/>
              <a:t>▶ 최저보험료 도입 시 수준</a:t>
            </a:r>
            <a:r>
              <a:rPr lang="en-US" altLang="ko-KR" sz="1000" dirty="0" smtClean="0"/>
              <a:t>·</a:t>
            </a:r>
            <a:r>
              <a:rPr lang="ko-KR" altLang="en-US" sz="1000" dirty="0" smtClean="0"/>
              <a:t>적용대상</a:t>
            </a:r>
            <a:endParaRPr lang="en-US" altLang="ko-KR" sz="1000" dirty="0" smtClean="0"/>
          </a:p>
          <a:p>
            <a:r>
              <a:rPr lang="en-US" sz="1000" dirty="0"/>
              <a:t> </a:t>
            </a:r>
            <a:r>
              <a:rPr lang="en-US" sz="1000" dirty="0" smtClean="0"/>
              <a:t>   </a:t>
            </a:r>
            <a:r>
              <a:rPr lang="ko-KR" altLang="en-US" sz="1000" dirty="0" smtClean="0"/>
              <a:t>범위</a:t>
            </a:r>
            <a:r>
              <a:rPr lang="en-US" altLang="ko-KR" sz="1000" dirty="0" smtClean="0"/>
              <a:t>·</a:t>
            </a:r>
            <a:r>
              <a:rPr lang="ko-KR" altLang="en-US" sz="1000" dirty="0" smtClean="0"/>
              <a:t>보험료 인상세대 문제점</a:t>
            </a:r>
            <a:endParaRPr lang="en-US" altLang="ko-KR" sz="1000" dirty="0" smtClean="0"/>
          </a:p>
          <a:p>
            <a:r>
              <a:rPr lang="ko-KR" altLang="en-US" sz="1000" dirty="0" smtClean="0"/>
              <a:t>▶ 재산보험료 부담 경감방안</a:t>
            </a:r>
            <a:endParaRPr lang="en-US" altLang="ko-KR" sz="1000" dirty="0" smtClean="0"/>
          </a:p>
          <a:p>
            <a:r>
              <a:rPr lang="ko-KR" altLang="en-US" sz="1000" dirty="0" smtClean="0"/>
              <a:t>▶ 보험료 </a:t>
            </a:r>
            <a:r>
              <a:rPr lang="ko-KR" altLang="en-US" sz="1000" dirty="0" err="1" smtClean="0"/>
              <a:t>상한액</a:t>
            </a:r>
            <a:r>
              <a:rPr lang="ko-KR" altLang="en-US" sz="1000" dirty="0" smtClean="0"/>
              <a:t> 개선방안</a:t>
            </a:r>
            <a:endParaRPr lang="en-US" sz="1000" dirty="0"/>
          </a:p>
        </p:txBody>
      </p:sp>
      <p:grpSp>
        <p:nvGrpSpPr>
          <p:cNvPr id="13" name="Group 97"/>
          <p:cNvGrpSpPr/>
          <p:nvPr/>
        </p:nvGrpSpPr>
        <p:grpSpPr>
          <a:xfrm>
            <a:off x="3306316" y="3980408"/>
            <a:ext cx="2509330" cy="1291210"/>
            <a:chOff x="914400" y="4030498"/>
            <a:chExt cx="3657600" cy="1511660"/>
          </a:xfrm>
        </p:grpSpPr>
        <p:sp>
          <p:nvSpPr>
            <p:cNvPr id="20" name="Rectangle 98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Rectangle 99"/>
            <p:cNvSpPr/>
            <p:nvPr/>
          </p:nvSpPr>
          <p:spPr>
            <a:xfrm>
              <a:off x="914400" y="4030498"/>
              <a:ext cx="3657600" cy="337208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100" b="1" dirty="0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피부양자 제도 개선</a:t>
              </a:r>
              <a:endParaRPr lang="en-US" sz="1100" b="1" dirty="0"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grpSp>
        <p:nvGrpSpPr>
          <p:cNvPr id="14" name="Group 100"/>
          <p:cNvGrpSpPr/>
          <p:nvPr/>
        </p:nvGrpSpPr>
        <p:grpSpPr>
          <a:xfrm>
            <a:off x="5945242" y="3980408"/>
            <a:ext cx="2509330" cy="1291210"/>
            <a:chOff x="914400" y="4030498"/>
            <a:chExt cx="3657600" cy="1511660"/>
          </a:xfrm>
        </p:grpSpPr>
        <p:sp>
          <p:nvSpPr>
            <p:cNvPr id="18" name="Rectangle 101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Rectangle 102"/>
            <p:cNvSpPr/>
            <p:nvPr/>
          </p:nvSpPr>
          <p:spPr>
            <a:xfrm>
              <a:off x="914400" y="4030498"/>
              <a:ext cx="3657600" cy="337208"/>
            </a:xfrm>
            <a:prstGeom prst="rect">
              <a:avLst/>
            </a:prstGeom>
            <a:solidFill>
              <a:srgbClr val="23A50E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000" b="1" spc="-150" dirty="0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직장가입자 </a:t>
              </a:r>
              <a:r>
                <a:rPr lang="ko-KR" altLang="en-US" sz="1000" b="1" spc="-150" dirty="0" err="1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보수외</a:t>
              </a:r>
              <a:r>
                <a:rPr lang="ko-KR" altLang="en-US" sz="1000" b="1" spc="-150" dirty="0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 소득 보험료 부과 방식 개선</a:t>
              </a:r>
              <a:endParaRPr lang="en-US" sz="1000" b="1" spc="-150" dirty="0"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sp>
        <p:nvSpPr>
          <p:cNvPr id="15" name="TextBox 103"/>
          <p:cNvSpPr txBox="1"/>
          <p:nvPr/>
        </p:nvSpPr>
        <p:spPr>
          <a:xfrm>
            <a:off x="3306316" y="4371395"/>
            <a:ext cx="25093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000" dirty="0" smtClean="0"/>
              <a:t>▶ 부양요건 인정범위</a:t>
            </a:r>
            <a:endParaRPr lang="en-US" altLang="ko-KR" sz="1000" dirty="0" smtClean="0"/>
          </a:p>
          <a:p>
            <a:r>
              <a:rPr lang="ko-KR" altLang="en-US" sz="1000" dirty="0" smtClean="0"/>
              <a:t>▶ 소득 범위</a:t>
            </a:r>
            <a:endParaRPr lang="en-US" altLang="ko-KR" sz="1000" dirty="0" smtClean="0"/>
          </a:p>
          <a:p>
            <a:r>
              <a:rPr lang="ko-KR" altLang="en-US" sz="1000" dirty="0" smtClean="0"/>
              <a:t>▶ 소득기준선 조정</a:t>
            </a:r>
            <a:endParaRPr lang="en-US" altLang="ko-KR" sz="1000" dirty="0" smtClean="0"/>
          </a:p>
          <a:p>
            <a:r>
              <a:rPr lang="ko-KR" altLang="en-US" sz="1000" dirty="0" smtClean="0"/>
              <a:t>▶ 자격변동</a:t>
            </a:r>
            <a:endParaRPr lang="en-US" altLang="ko-KR" sz="1000" dirty="0" smtClean="0"/>
          </a:p>
          <a:p>
            <a:r>
              <a:rPr lang="ko-KR" altLang="en-US" sz="1000" dirty="0" smtClean="0"/>
              <a:t>▶ 재산기준선 조정</a:t>
            </a:r>
            <a:endParaRPr lang="en-US" sz="1000" dirty="0"/>
          </a:p>
        </p:txBody>
      </p:sp>
      <p:sp>
        <p:nvSpPr>
          <p:cNvPr id="17" name="TextBox 104"/>
          <p:cNvSpPr txBox="1"/>
          <p:nvPr/>
        </p:nvSpPr>
        <p:spPr>
          <a:xfrm>
            <a:off x="5945242" y="4371395"/>
            <a:ext cx="250933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000" dirty="0" smtClean="0"/>
              <a:t>▶ 소득범위</a:t>
            </a:r>
            <a:endParaRPr lang="en-US" altLang="ko-KR" sz="1000" dirty="0" smtClean="0"/>
          </a:p>
          <a:p>
            <a:r>
              <a:rPr lang="ko-KR" altLang="en-US" sz="1000" dirty="0" smtClean="0"/>
              <a:t>▶ 소득기준선 조정</a:t>
            </a:r>
            <a:endParaRPr lang="en-US" altLang="ko-KR" sz="1000" dirty="0" smtClean="0"/>
          </a:p>
          <a:p>
            <a:r>
              <a:rPr lang="ko-KR" altLang="en-US" sz="1000" dirty="0" smtClean="0"/>
              <a:t>▶ </a:t>
            </a:r>
            <a:r>
              <a:rPr lang="ko-KR" altLang="en-US" sz="1000" dirty="0" err="1" smtClean="0"/>
              <a:t>보험료율</a:t>
            </a:r>
            <a:r>
              <a:rPr lang="ko-KR" altLang="en-US" sz="1000" dirty="0" smtClean="0"/>
              <a:t> 조정</a:t>
            </a:r>
            <a:endParaRPr lang="en-US" altLang="ko-KR" sz="1000" dirty="0" smtClean="0"/>
          </a:p>
          <a:p>
            <a:r>
              <a:rPr lang="ko-KR" altLang="en-US" sz="1000" dirty="0" smtClean="0"/>
              <a:t>▶ 부과방식 개선</a:t>
            </a:r>
            <a:endParaRPr lang="en-US" altLang="ko-KR" sz="1000" dirty="0" smtClean="0"/>
          </a:p>
          <a:p>
            <a:r>
              <a:rPr lang="ko-KR" altLang="en-US" sz="1000" dirty="0" smtClean="0"/>
              <a:t>▶ </a:t>
            </a:r>
            <a:r>
              <a:rPr lang="ko-KR" altLang="en-US" sz="1000" dirty="0" err="1" smtClean="0"/>
              <a:t>상한액</a:t>
            </a:r>
            <a:r>
              <a:rPr lang="ko-KR" altLang="en-US" sz="1000" dirty="0" smtClean="0"/>
              <a:t> 조정</a:t>
            </a:r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2400741" y="3474174"/>
            <a:ext cx="43204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료 부과체계개편 주요 쟁점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cxnSp>
        <p:nvCxnSpPr>
          <p:cNvPr id="26" name="직선 연결선 25"/>
          <p:cNvCxnSpPr/>
          <p:nvPr/>
        </p:nvCxnSpPr>
        <p:spPr>
          <a:xfrm>
            <a:off x="3068708" y="3766562"/>
            <a:ext cx="2974101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13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23</TotalTime>
  <Words>2365</Words>
  <Application>Microsoft Office PowerPoint</Application>
  <PresentationFormat>화면 슬라이드 쇼(4:3)</PresentationFormat>
  <Paragraphs>246</Paragraphs>
  <Slides>16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6</vt:i4>
      </vt:variant>
    </vt:vector>
  </HeadingPairs>
  <TitlesOfParts>
    <vt:vector size="17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27</cp:revision>
  <cp:lastPrinted>2015-09-09T10:07:35Z</cp:lastPrinted>
  <dcterms:created xsi:type="dcterms:W3CDTF">2015-09-02T12:15:03Z</dcterms:created>
  <dcterms:modified xsi:type="dcterms:W3CDTF">2015-09-09T10:37:51Z</dcterms:modified>
</cp:coreProperties>
</file>